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2" r:id="rId2"/>
  </p:sldIdLst>
  <p:sldSz cx="7556500" cy="10693400"/>
  <p:notesSz cx="6858000" cy="9144000"/>
  <p:embeddedFontLst>
    <p:embeddedFont>
      <p:font typeface="Calibri" panose="020F0502020204030204" pitchFamily="34" charset="0"/>
      <p:regular r:id="rId3"/>
      <p:bold r:id="rId4"/>
      <p:italic r:id="rId5"/>
      <p:boldItalic r:id="rId6"/>
    </p:embeddedFont>
    <p:embeddedFont>
      <p:font typeface="Darker Grotesque" pitchFamily="2" charset="0"/>
      <p:regular r:id="rId7"/>
      <p:bold r:id="rId8"/>
    </p:embeddedFont>
    <p:embeddedFont>
      <p:font typeface="League Spartan" pitchFamily="2" charset="0"/>
      <p:regular r:id="rId9"/>
      <p:bold r:id="rId1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334E"/>
    <a:srgbClr val="FFF7EF"/>
    <a:srgbClr val="FFEA97"/>
    <a:srgbClr val="FFFCED"/>
    <a:srgbClr val="FFF8E2"/>
    <a:srgbClr val="4D7389"/>
    <a:srgbClr val="FFFAF2"/>
    <a:srgbClr val="3B9F8D"/>
    <a:srgbClr val="991C1D"/>
    <a:srgbClr val="8F3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70" autoAdjust="0"/>
    <p:restoredTop sz="94622" autoAdjust="0"/>
  </p:normalViewPr>
  <p:slideViewPr>
    <p:cSldViewPr>
      <p:cViewPr varScale="1">
        <p:scale>
          <a:sx n="68" d="100"/>
          <a:sy n="68" d="100"/>
        </p:scale>
        <p:origin x="2652" y="42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presProps" Target="presProps.xml"/><Relationship Id="rId5" Type="http://schemas.openxmlformats.org/officeDocument/2006/relationships/font" Target="fonts/font3.fntdata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68" userDrawn="1">
          <p15:clr>
            <a:srgbClr val="FBAE40"/>
          </p15:clr>
        </p15:guide>
        <p15:guide id="2" pos="23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8" userDrawn="1">
          <p15:clr>
            <a:srgbClr val="F26B43"/>
          </p15:clr>
        </p15:guide>
        <p15:guide id="2" pos="23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A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7">
            <a:extLst>
              <a:ext uri="{FF2B5EF4-FFF2-40B4-BE49-F238E27FC236}">
                <a16:creationId xmlns:a16="http://schemas.microsoft.com/office/drawing/2014/main" id="{D1800866-C7AB-9CE3-A9E5-B4323FA0AC8C}"/>
              </a:ext>
            </a:extLst>
          </p:cNvPr>
          <p:cNvGrpSpPr/>
          <p:nvPr/>
        </p:nvGrpSpPr>
        <p:grpSpPr>
          <a:xfrm>
            <a:off x="-560452" y="-1406154"/>
            <a:ext cx="9955360" cy="13261367"/>
            <a:chOff x="-560452" y="-1406154"/>
            <a:chExt cx="9955360" cy="13261367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911561C9-41F6-1026-517E-95474D67675D}"/>
                </a:ext>
              </a:extLst>
            </p:cNvPr>
            <p:cNvGrpSpPr/>
            <p:nvPr/>
          </p:nvGrpSpPr>
          <p:grpSpPr>
            <a:xfrm>
              <a:off x="-560452" y="-1406154"/>
              <a:ext cx="9955360" cy="13261367"/>
              <a:chOff x="-560452" y="-1406154"/>
              <a:chExt cx="9955360" cy="13261367"/>
            </a:xfrm>
          </p:grpSpPr>
          <p:sp>
            <p:nvSpPr>
              <p:cNvPr id="2" name="Freeform 2"/>
              <p:cNvSpPr/>
              <p:nvPr/>
            </p:nvSpPr>
            <p:spPr>
              <a:xfrm>
                <a:off x="5878566" y="5164099"/>
                <a:ext cx="925434" cy="507832"/>
              </a:xfrm>
              <a:custGeom>
                <a:avLst/>
                <a:gdLst/>
                <a:ahLst/>
                <a:cxnLst/>
                <a:rect l="l" t="t" r="r" b="b"/>
                <a:pathLst>
                  <a:path w="925434" h="507832">
                    <a:moveTo>
                      <a:pt x="0" y="0"/>
                    </a:moveTo>
                    <a:lnTo>
                      <a:pt x="925434" y="0"/>
                    </a:lnTo>
                    <a:lnTo>
                      <a:pt x="925434" y="507832"/>
                    </a:lnTo>
                    <a:lnTo>
                      <a:pt x="0" y="50783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" name="Freeform 4"/>
              <p:cNvSpPr/>
              <p:nvPr/>
            </p:nvSpPr>
            <p:spPr>
              <a:xfrm>
                <a:off x="5543332" y="3824881"/>
                <a:ext cx="2013168" cy="1300320"/>
              </a:xfrm>
              <a:custGeom>
                <a:avLst/>
                <a:gdLst/>
                <a:ahLst/>
                <a:cxnLst/>
                <a:rect l="l" t="t" r="r" b="b"/>
                <a:pathLst>
                  <a:path w="4032000" h="1733760">
                    <a:moveTo>
                      <a:pt x="0" y="0"/>
                    </a:moveTo>
                    <a:lnTo>
                      <a:pt x="4032000" y="0"/>
                    </a:lnTo>
                    <a:lnTo>
                      <a:pt x="4032000" y="1733760"/>
                    </a:lnTo>
                    <a:lnTo>
                      <a:pt x="0" y="173376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 r="-50212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" name="Freeform 5"/>
              <p:cNvSpPr/>
              <p:nvPr/>
            </p:nvSpPr>
            <p:spPr>
              <a:xfrm flipH="1">
                <a:off x="0" y="3824881"/>
                <a:ext cx="2016668" cy="1300320"/>
              </a:xfrm>
              <a:custGeom>
                <a:avLst/>
                <a:gdLst/>
                <a:ahLst/>
                <a:cxnLst/>
                <a:rect l="l" t="t" r="r" b="b"/>
                <a:pathLst>
                  <a:path w="4032000" h="1733760">
                    <a:moveTo>
                      <a:pt x="4032000" y="0"/>
                    </a:moveTo>
                    <a:lnTo>
                      <a:pt x="0" y="0"/>
                    </a:lnTo>
                    <a:lnTo>
                      <a:pt x="0" y="1733760"/>
                    </a:lnTo>
                    <a:lnTo>
                      <a:pt x="4032000" y="1733760"/>
                    </a:lnTo>
                    <a:lnTo>
                      <a:pt x="4032000" y="0"/>
                    </a:lnTo>
                    <a:close/>
                  </a:path>
                </a:pathLst>
              </a:custGeom>
              <a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 r="-49950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2877CBE-38B5-25F1-9406-ECBBC5500BFA}"/>
                  </a:ext>
                </a:extLst>
              </p:cNvPr>
              <p:cNvSpPr/>
              <p:nvPr/>
            </p:nvSpPr>
            <p:spPr>
              <a:xfrm rot="3091539">
                <a:off x="-1722641" y="8518905"/>
                <a:ext cx="4498497" cy="2174120"/>
              </a:xfrm>
              <a:custGeom>
                <a:avLst/>
                <a:gdLst>
                  <a:gd name="connsiteX0" fmla="*/ 0 w 4498497"/>
                  <a:gd name="connsiteY0" fmla="*/ 0 h 2174120"/>
                  <a:gd name="connsiteX1" fmla="*/ 4498497 w 4498497"/>
                  <a:gd name="connsiteY1" fmla="*/ 0 h 2174120"/>
                  <a:gd name="connsiteX2" fmla="*/ 2770713 w 4498497"/>
                  <a:gd name="connsiteY2" fmla="*/ 2174120 h 2174120"/>
                  <a:gd name="connsiteX3" fmla="*/ 907860 w 4498497"/>
                  <a:gd name="connsiteY3" fmla="*/ 693701 h 2174120"/>
                  <a:gd name="connsiteX4" fmla="*/ 0 w 4498497"/>
                  <a:gd name="connsiteY4" fmla="*/ 1836088 h 2174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98497" h="2174120">
                    <a:moveTo>
                      <a:pt x="0" y="0"/>
                    </a:moveTo>
                    <a:lnTo>
                      <a:pt x="4498497" y="0"/>
                    </a:lnTo>
                    <a:lnTo>
                      <a:pt x="2770713" y="2174120"/>
                    </a:lnTo>
                    <a:lnTo>
                      <a:pt x="907860" y="693701"/>
                    </a:lnTo>
                    <a:lnTo>
                      <a:pt x="0" y="1836088"/>
                    </a:lnTo>
                    <a:close/>
                  </a:path>
                </a:pathLst>
              </a:custGeom>
              <a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 l="-2323" r="-43022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" name="Freeform 11"/>
              <p:cNvSpPr/>
              <p:nvPr/>
            </p:nvSpPr>
            <p:spPr>
              <a:xfrm>
                <a:off x="727402" y="8344097"/>
                <a:ext cx="925434" cy="507832"/>
              </a:xfrm>
              <a:custGeom>
                <a:avLst/>
                <a:gdLst/>
                <a:ahLst/>
                <a:cxnLst/>
                <a:rect l="l" t="t" r="r" b="b"/>
                <a:pathLst>
                  <a:path w="925434" h="507832">
                    <a:moveTo>
                      <a:pt x="0" y="0"/>
                    </a:moveTo>
                    <a:lnTo>
                      <a:pt x="925434" y="0"/>
                    </a:lnTo>
                    <a:lnTo>
                      <a:pt x="925434" y="507832"/>
                    </a:lnTo>
                    <a:lnTo>
                      <a:pt x="0" y="50783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" name="Freeform 13"/>
              <p:cNvSpPr/>
              <p:nvPr/>
            </p:nvSpPr>
            <p:spPr>
              <a:xfrm>
                <a:off x="5543332" y="6946378"/>
                <a:ext cx="2013168" cy="1300320"/>
              </a:xfrm>
              <a:custGeom>
                <a:avLst/>
                <a:gdLst/>
                <a:ahLst/>
                <a:cxnLst/>
                <a:rect l="l" t="t" r="r" b="b"/>
                <a:pathLst>
                  <a:path w="4032000" h="1733760">
                    <a:moveTo>
                      <a:pt x="0" y="0"/>
                    </a:moveTo>
                    <a:lnTo>
                      <a:pt x="4032000" y="0"/>
                    </a:lnTo>
                    <a:lnTo>
                      <a:pt x="4032000" y="1733760"/>
                    </a:lnTo>
                    <a:lnTo>
                      <a:pt x="0" y="173376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 r="-50212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" name="Freeform 14"/>
              <p:cNvSpPr/>
              <p:nvPr/>
            </p:nvSpPr>
            <p:spPr>
              <a:xfrm flipH="1">
                <a:off x="0" y="6946378"/>
                <a:ext cx="2016668" cy="1300320"/>
              </a:xfrm>
              <a:custGeom>
                <a:avLst/>
                <a:gdLst/>
                <a:ahLst/>
                <a:cxnLst/>
                <a:rect l="l" t="t" r="r" b="b"/>
                <a:pathLst>
                  <a:path w="4032000" h="1733760">
                    <a:moveTo>
                      <a:pt x="4032000" y="0"/>
                    </a:moveTo>
                    <a:lnTo>
                      <a:pt x="0" y="0"/>
                    </a:lnTo>
                    <a:lnTo>
                      <a:pt x="0" y="1733760"/>
                    </a:lnTo>
                    <a:lnTo>
                      <a:pt x="4032000" y="1733760"/>
                    </a:lnTo>
                    <a:lnTo>
                      <a:pt x="4032000" y="0"/>
                    </a:lnTo>
                    <a:close/>
                  </a:path>
                </a:pathLst>
              </a:custGeom>
              <a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 r="-49950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6CF4AD60-761D-0535-D7ED-3A0F632BA4FE}"/>
                  </a:ext>
                </a:extLst>
              </p:cNvPr>
              <p:cNvSpPr/>
              <p:nvPr/>
            </p:nvSpPr>
            <p:spPr>
              <a:xfrm rot="3091539">
                <a:off x="6025185" y="-1243983"/>
                <a:ext cx="3531893" cy="3207552"/>
              </a:xfrm>
              <a:custGeom>
                <a:avLst/>
                <a:gdLst>
                  <a:gd name="connsiteX0" fmla="*/ 27653 w 3531893"/>
                  <a:gd name="connsiteY0" fmla="*/ 3207552 h 3207552"/>
                  <a:gd name="connsiteX1" fmla="*/ 1338684 w 3531893"/>
                  <a:gd name="connsiteY1" fmla="*/ 1557845 h 3207552"/>
                  <a:gd name="connsiteX2" fmla="*/ 3387742 w 3531893"/>
                  <a:gd name="connsiteY2" fmla="*/ 3186242 h 3207552"/>
                  <a:gd name="connsiteX3" fmla="*/ 3531893 w 3531893"/>
                  <a:gd name="connsiteY3" fmla="*/ 3004853 h 3207552"/>
                  <a:gd name="connsiteX4" fmla="*/ 3531893 w 3531893"/>
                  <a:gd name="connsiteY4" fmla="*/ 3207552 h 3207552"/>
                  <a:gd name="connsiteX5" fmla="*/ 470593 w 3531893"/>
                  <a:gd name="connsiteY5" fmla="*/ 0 h 3207552"/>
                  <a:gd name="connsiteX6" fmla="*/ 845149 w 3531893"/>
                  <a:gd name="connsiteY6" fmla="*/ 0 h 3207552"/>
                  <a:gd name="connsiteX7" fmla="*/ 700163 w 3531893"/>
                  <a:gd name="connsiteY7" fmla="*/ 182440 h 3207552"/>
                  <a:gd name="connsiteX8" fmla="*/ 0 w 3531893"/>
                  <a:gd name="connsiteY8" fmla="*/ 0 h 3207552"/>
                  <a:gd name="connsiteX9" fmla="*/ 292233 w 3531893"/>
                  <a:gd name="connsiteY9" fmla="*/ 0 h 3207552"/>
                  <a:gd name="connsiteX10" fmla="*/ 0 w 3531893"/>
                  <a:gd name="connsiteY10" fmla="*/ 367724 h 3207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531893" h="3207552">
                    <a:moveTo>
                      <a:pt x="27653" y="3207552"/>
                    </a:moveTo>
                    <a:lnTo>
                      <a:pt x="1338684" y="1557845"/>
                    </a:lnTo>
                    <a:lnTo>
                      <a:pt x="3387742" y="3186242"/>
                    </a:lnTo>
                    <a:lnTo>
                      <a:pt x="3531893" y="3004853"/>
                    </a:lnTo>
                    <a:lnTo>
                      <a:pt x="3531893" y="3207552"/>
                    </a:lnTo>
                    <a:close/>
                    <a:moveTo>
                      <a:pt x="470593" y="0"/>
                    </a:moveTo>
                    <a:lnTo>
                      <a:pt x="845149" y="0"/>
                    </a:lnTo>
                    <a:lnTo>
                      <a:pt x="700163" y="182440"/>
                    </a:lnTo>
                    <a:close/>
                    <a:moveTo>
                      <a:pt x="0" y="0"/>
                    </a:moveTo>
                    <a:lnTo>
                      <a:pt x="292233" y="0"/>
                    </a:lnTo>
                    <a:lnTo>
                      <a:pt x="0" y="367724"/>
                    </a:lnTo>
                    <a:close/>
                  </a:path>
                </a:pathLst>
              </a:custGeom>
              <a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 l="-16279" r="-72208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0" name="Freeform 30"/>
              <p:cNvSpPr/>
              <p:nvPr/>
            </p:nvSpPr>
            <p:spPr>
              <a:xfrm>
                <a:off x="0" y="0"/>
                <a:ext cx="2239402" cy="1056167"/>
              </a:xfrm>
              <a:custGeom>
                <a:avLst/>
                <a:gdLst/>
                <a:ahLst/>
                <a:cxnLst/>
                <a:rect l="l" t="t" r="r" b="b"/>
                <a:pathLst>
                  <a:path w="3024000" h="1424029">
                    <a:moveTo>
                      <a:pt x="0" y="0"/>
                    </a:moveTo>
                    <a:lnTo>
                      <a:pt x="3024000" y="0"/>
                    </a:lnTo>
                    <a:lnTo>
                      <a:pt x="3024000" y="1424029"/>
                    </a:lnTo>
                    <a:lnTo>
                      <a:pt x="0" y="142402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 l="-35036" t="-34830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" name="Freeform 31"/>
              <p:cNvSpPr/>
              <p:nvPr/>
            </p:nvSpPr>
            <p:spPr>
              <a:xfrm flipH="1" flipV="1">
                <a:off x="5825054" y="9587498"/>
                <a:ext cx="1731446" cy="1105901"/>
              </a:xfrm>
              <a:custGeom>
                <a:avLst/>
                <a:gdLst/>
                <a:ahLst/>
                <a:cxnLst/>
                <a:rect l="l" t="t" r="r" b="b"/>
                <a:pathLst>
                  <a:path w="3024000" h="1424029">
                    <a:moveTo>
                      <a:pt x="3024000" y="1424029"/>
                    </a:moveTo>
                    <a:lnTo>
                      <a:pt x="0" y="1424029"/>
                    </a:lnTo>
                    <a:lnTo>
                      <a:pt x="0" y="0"/>
                    </a:lnTo>
                    <a:lnTo>
                      <a:pt x="3024000" y="0"/>
                    </a:lnTo>
                    <a:lnTo>
                      <a:pt x="3024000" y="1424029"/>
                    </a:lnTo>
                    <a:close/>
                  </a:path>
                </a:pathLst>
              </a:custGeom>
              <a:blipFill>
                <a:blip r:embed="rId11"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 l="-74652" t="-28766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" name="Freeform 32"/>
              <p:cNvSpPr/>
              <p:nvPr/>
            </p:nvSpPr>
            <p:spPr>
              <a:xfrm>
                <a:off x="3317283" y="-1"/>
                <a:ext cx="925434" cy="441675"/>
              </a:xfrm>
              <a:custGeom>
                <a:avLst/>
                <a:gdLst/>
                <a:ahLst/>
                <a:cxnLst/>
                <a:rect l="l" t="t" r="r" b="b"/>
                <a:pathLst>
                  <a:path w="925434" h="507832">
                    <a:moveTo>
                      <a:pt x="0" y="0"/>
                    </a:moveTo>
                    <a:lnTo>
                      <a:pt x="925434" y="0"/>
                    </a:lnTo>
                    <a:lnTo>
                      <a:pt x="925434" y="507832"/>
                    </a:lnTo>
                    <a:lnTo>
                      <a:pt x="0" y="507832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 t="-14978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8A2E42A-16EA-CF26-4433-FBA45B5DCFE0}"/>
                </a:ext>
              </a:extLst>
            </p:cNvPr>
            <p:cNvGrpSpPr/>
            <p:nvPr/>
          </p:nvGrpSpPr>
          <p:grpSpPr>
            <a:xfrm>
              <a:off x="754250" y="9049877"/>
              <a:ext cx="6048000" cy="704207"/>
              <a:chOff x="754250" y="9049877"/>
              <a:chExt cx="6048000" cy="704207"/>
            </a:xfrm>
          </p:grpSpPr>
          <p:sp>
            <p:nvSpPr>
              <p:cNvPr id="37" name="TextBox 37"/>
              <p:cNvSpPr txBox="1"/>
              <p:nvPr/>
            </p:nvSpPr>
            <p:spPr>
              <a:xfrm>
                <a:off x="754250" y="9049877"/>
                <a:ext cx="6048000" cy="17953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400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422C1D"/>
                    </a:solidFill>
                    <a:latin typeface="League Spartan"/>
                  </a:rPr>
                  <a:t>On a scale of 1 to 5, how satisfied are you with today's lesson?</a:t>
                </a:r>
              </a:p>
            </p:txBody>
          </p:sp>
          <p:sp>
            <p:nvSpPr>
              <p:cNvPr id="35" name="TextBox 35"/>
              <p:cNvSpPr txBox="1"/>
              <p:nvPr/>
            </p:nvSpPr>
            <p:spPr>
              <a:xfrm>
                <a:off x="754250" y="9506188"/>
                <a:ext cx="1227446" cy="17145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400"/>
                  </a:lnSpc>
                  <a:spcBef>
                    <a:spcPct val="0"/>
                  </a:spcBef>
                </a:pPr>
                <a:r>
                  <a:rPr lang="en-US" sz="1000" b="1" dirty="0">
                    <a:solidFill>
                      <a:srgbClr val="422C1D"/>
                    </a:solidFill>
                    <a:latin typeface="League Spartan"/>
                  </a:rPr>
                  <a:t> Very dissatisfied</a:t>
                </a:r>
              </a:p>
            </p:txBody>
          </p:sp>
          <p:sp>
            <p:nvSpPr>
              <p:cNvPr id="36" name="TextBox 36"/>
              <p:cNvSpPr txBox="1"/>
              <p:nvPr/>
            </p:nvSpPr>
            <p:spPr>
              <a:xfrm>
                <a:off x="5570319" y="9502648"/>
                <a:ext cx="1231931" cy="17145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400"/>
                  </a:lnSpc>
                  <a:spcBef>
                    <a:spcPct val="0"/>
                  </a:spcBef>
                </a:pPr>
                <a:r>
                  <a:rPr lang="en-US" sz="1000" b="1" dirty="0">
                    <a:solidFill>
                      <a:srgbClr val="422C1D"/>
                    </a:solidFill>
                    <a:latin typeface="League Spartan"/>
                  </a:rPr>
                  <a:t>Very satisfied</a:t>
                </a:r>
              </a:p>
            </p:txBody>
          </p:sp>
          <p:sp>
            <p:nvSpPr>
              <p:cNvPr id="39" name="Freeform 39"/>
              <p:cNvSpPr/>
              <p:nvPr/>
            </p:nvSpPr>
            <p:spPr>
              <a:xfrm>
                <a:off x="2321118" y="9443665"/>
                <a:ext cx="310419" cy="310419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lnTo>
                      <a:pt x="40640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000000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" name="TextBox 41"/>
              <p:cNvSpPr txBox="1"/>
              <p:nvPr/>
            </p:nvSpPr>
            <p:spPr>
              <a:xfrm>
                <a:off x="2364102" y="9531259"/>
                <a:ext cx="224450" cy="13523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20"/>
                  </a:lnSpc>
                  <a:spcBef>
                    <a:spcPct val="0"/>
                  </a:spcBef>
                </a:pPr>
                <a:r>
                  <a:rPr lang="en-US" sz="800" b="1" dirty="0">
                    <a:solidFill>
                      <a:srgbClr val="422C1D"/>
                    </a:solidFill>
                    <a:latin typeface="League Spartan"/>
                  </a:rPr>
                  <a:t>1</a:t>
                </a:r>
              </a:p>
            </p:txBody>
          </p:sp>
          <p:sp>
            <p:nvSpPr>
              <p:cNvPr id="43" name="Freeform 43"/>
              <p:cNvSpPr/>
              <p:nvPr/>
            </p:nvSpPr>
            <p:spPr>
              <a:xfrm>
                <a:off x="2970958" y="9443665"/>
                <a:ext cx="310419" cy="310419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lnTo>
                      <a:pt x="40640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000000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" name="TextBox 45"/>
              <p:cNvSpPr txBox="1"/>
              <p:nvPr/>
            </p:nvSpPr>
            <p:spPr>
              <a:xfrm>
                <a:off x="3013942" y="9531259"/>
                <a:ext cx="224450" cy="13523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20"/>
                  </a:lnSpc>
                  <a:spcBef>
                    <a:spcPct val="0"/>
                  </a:spcBef>
                </a:pPr>
                <a:r>
                  <a:rPr lang="en-US" sz="800" b="1" dirty="0">
                    <a:solidFill>
                      <a:srgbClr val="422C1D"/>
                    </a:solidFill>
                    <a:latin typeface="League Spartan"/>
                  </a:rPr>
                  <a:t>2</a:t>
                </a:r>
              </a:p>
            </p:txBody>
          </p:sp>
          <p:sp>
            <p:nvSpPr>
              <p:cNvPr id="47" name="Freeform 47"/>
              <p:cNvSpPr/>
              <p:nvPr/>
            </p:nvSpPr>
            <p:spPr>
              <a:xfrm>
                <a:off x="3620798" y="9443665"/>
                <a:ext cx="310419" cy="310419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lnTo>
                      <a:pt x="40640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000000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" name="TextBox 49"/>
              <p:cNvSpPr txBox="1"/>
              <p:nvPr/>
            </p:nvSpPr>
            <p:spPr>
              <a:xfrm>
                <a:off x="3663782" y="9531259"/>
                <a:ext cx="224450" cy="13523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20"/>
                  </a:lnSpc>
                  <a:spcBef>
                    <a:spcPct val="0"/>
                  </a:spcBef>
                </a:pPr>
                <a:r>
                  <a:rPr lang="en-US" sz="800" b="1" dirty="0">
                    <a:solidFill>
                      <a:srgbClr val="422C1D"/>
                    </a:solidFill>
                    <a:latin typeface="League Spartan"/>
                  </a:rPr>
                  <a:t>3</a:t>
                </a:r>
              </a:p>
            </p:txBody>
          </p:sp>
          <p:sp>
            <p:nvSpPr>
              <p:cNvPr id="51" name="Freeform 51"/>
              <p:cNvSpPr/>
              <p:nvPr/>
            </p:nvSpPr>
            <p:spPr>
              <a:xfrm>
                <a:off x="4270639" y="9443665"/>
                <a:ext cx="310419" cy="310419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lnTo>
                      <a:pt x="40640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000000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" name="TextBox 53"/>
              <p:cNvSpPr txBox="1"/>
              <p:nvPr/>
            </p:nvSpPr>
            <p:spPr>
              <a:xfrm>
                <a:off x="4313623" y="9531259"/>
                <a:ext cx="224450" cy="13523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20"/>
                  </a:lnSpc>
                  <a:spcBef>
                    <a:spcPct val="0"/>
                  </a:spcBef>
                </a:pPr>
                <a:r>
                  <a:rPr lang="en-US" sz="800" b="1" dirty="0">
                    <a:solidFill>
                      <a:srgbClr val="422C1D"/>
                    </a:solidFill>
                    <a:latin typeface="League Spartan"/>
                  </a:rPr>
                  <a:t>4</a:t>
                </a:r>
              </a:p>
            </p:txBody>
          </p:sp>
          <p:sp>
            <p:nvSpPr>
              <p:cNvPr id="55" name="Freeform 55"/>
              <p:cNvSpPr/>
              <p:nvPr/>
            </p:nvSpPr>
            <p:spPr>
              <a:xfrm>
                <a:off x="4920479" y="9443665"/>
                <a:ext cx="310419" cy="310419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lnTo>
                      <a:pt x="40640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000000"/>
                </a:solidFill>
                <a:prstDash val="solid"/>
                <a:rou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7" name="TextBox 57"/>
              <p:cNvSpPr txBox="1"/>
              <p:nvPr/>
            </p:nvSpPr>
            <p:spPr>
              <a:xfrm>
                <a:off x="4963463" y="9531259"/>
                <a:ext cx="224450" cy="13523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20"/>
                  </a:lnSpc>
                  <a:spcBef>
                    <a:spcPct val="0"/>
                  </a:spcBef>
                </a:pPr>
                <a:r>
                  <a:rPr lang="en-US" sz="800" b="1" dirty="0">
                    <a:solidFill>
                      <a:srgbClr val="422C1D"/>
                    </a:solidFill>
                    <a:latin typeface="League Spartan"/>
                  </a:rPr>
                  <a:t>5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C3EF6FD6-0786-D687-3E4A-713307B4F010}"/>
                </a:ext>
              </a:extLst>
            </p:cNvPr>
            <p:cNvGrpSpPr/>
            <p:nvPr/>
          </p:nvGrpSpPr>
          <p:grpSpPr>
            <a:xfrm>
              <a:off x="560543" y="5928452"/>
              <a:ext cx="6504648" cy="2545501"/>
              <a:chOff x="560543" y="5928158"/>
              <a:chExt cx="6504648" cy="2545501"/>
            </a:xfrm>
          </p:grpSpPr>
          <p:sp>
            <p:nvSpPr>
              <p:cNvPr id="18" name="TextBox 18"/>
              <p:cNvSpPr txBox="1"/>
              <p:nvPr/>
            </p:nvSpPr>
            <p:spPr>
              <a:xfrm>
                <a:off x="788867" y="5928158"/>
                <a:ext cx="6048000" cy="53860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400"/>
                  </a:lnSpc>
                </a:pPr>
                <a:r>
                  <a:rPr lang="en-US" sz="1200" b="1" dirty="0">
                    <a:solidFill>
                      <a:srgbClr val="422C1D"/>
                    </a:solidFill>
                    <a:latin typeface="League Spartan"/>
                  </a:rPr>
                  <a:t>Can you think of a real-world situation where the knowledge </a:t>
                </a:r>
              </a:p>
              <a:p>
                <a:pPr algn="ctr">
                  <a:lnSpc>
                    <a:spcPts val="1400"/>
                  </a:lnSpc>
                </a:pPr>
                <a:r>
                  <a:rPr lang="en-US" sz="1200" b="1" dirty="0">
                    <a:solidFill>
                      <a:srgbClr val="422C1D"/>
                    </a:solidFill>
                    <a:latin typeface="League Spartan"/>
                  </a:rPr>
                  <a:t>or skills you acquired in today's lesson might be useful? </a:t>
                </a:r>
              </a:p>
              <a:p>
                <a:pPr algn="ctr">
                  <a:lnSpc>
                    <a:spcPts val="1400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422C1D"/>
                    </a:solidFill>
                    <a:latin typeface="League Spartan"/>
                  </a:rPr>
                  <a:t>Describe how you would apply them in that context</a:t>
                </a:r>
              </a:p>
            </p:txBody>
          </p:sp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B4AB914B-395E-139F-5233-978081DB53CB}"/>
                  </a:ext>
                </a:extLst>
              </p:cNvPr>
              <p:cNvSpPr/>
              <p:nvPr/>
            </p:nvSpPr>
            <p:spPr>
              <a:xfrm>
                <a:off x="560543" y="6707165"/>
                <a:ext cx="6504648" cy="1766494"/>
              </a:xfrm>
              <a:prstGeom prst="roundRect">
                <a:avLst>
                  <a:gd name="adj" fmla="val 16420"/>
                </a:avLst>
              </a:prstGeom>
              <a:solidFill>
                <a:schemeClr val="bg1"/>
              </a:solidFill>
              <a:ln w="9525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B72F8E33-9BDF-E3A4-1AC9-D15928ABE331}"/>
                </a:ext>
              </a:extLst>
            </p:cNvPr>
            <p:cNvGrpSpPr/>
            <p:nvPr/>
          </p:nvGrpSpPr>
          <p:grpSpPr>
            <a:xfrm>
              <a:off x="560543" y="3021818"/>
              <a:ext cx="6504648" cy="2330711"/>
              <a:chOff x="560543" y="3015989"/>
              <a:chExt cx="6504648" cy="2330711"/>
            </a:xfrm>
          </p:grpSpPr>
          <p:sp>
            <p:nvSpPr>
              <p:cNvPr id="9" name="TextBox 9"/>
              <p:cNvSpPr txBox="1"/>
              <p:nvPr/>
            </p:nvSpPr>
            <p:spPr>
              <a:xfrm>
                <a:off x="788867" y="3015989"/>
                <a:ext cx="6048000" cy="35907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400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422C1D"/>
                    </a:solidFill>
                    <a:latin typeface="League Spartan"/>
                  </a:rPr>
                  <a:t>What was the most challenging concept or topic we covered in today’s </a:t>
                </a:r>
              </a:p>
              <a:p>
                <a:pPr algn="ctr">
                  <a:lnSpc>
                    <a:spcPts val="1400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422C1D"/>
                    </a:solidFill>
                    <a:latin typeface="League Spartan"/>
                  </a:rPr>
                  <a:t>lesson? How will you tackle this challenge to improve your understanding?</a:t>
                </a:r>
              </a:p>
            </p:txBody>
          </p:sp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AEA515AE-74DA-E430-E82C-25480A130A7B}"/>
                  </a:ext>
                </a:extLst>
              </p:cNvPr>
              <p:cNvSpPr/>
              <p:nvPr/>
            </p:nvSpPr>
            <p:spPr>
              <a:xfrm>
                <a:off x="560543" y="3580206"/>
                <a:ext cx="6504648" cy="1766494"/>
              </a:xfrm>
              <a:prstGeom prst="roundRect">
                <a:avLst>
                  <a:gd name="adj" fmla="val 16420"/>
                </a:avLst>
              </a:prstGeom>
              <a:solidFill>
                <a:schemeClr val="bg1"/>
              </a:solidFill>
              <a:ln w="9525">
                <a:solidFill>
                  <a:srgbClr val="1C334E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23E563DE-6FF7-344B-18A0-0DC36528E152}"/>
                </a:ext>
              </a:extLst>
            </p:cNvPr>
            <p:cNvGrpSpPr/>
            <p:nvPr/>
          </p:nvGrpSpPr>
          <p:grpSpPr>
            <a:xfrm>
              <a:off x="560543" y="813150"/>
              <a:ext cx="6504649" cy="1632745"/>
              <a:chOff x="560543" y="813150"/>
              <a:chExt cx="6504649" cy="1632745"/>
            </a:xfrm>
          </p:grpSpPr>
          <p:sp>
            <p:nvSpPr>
              <p:cNvPr id="3" name="Rectangle: Rounded Corners 2">
                <a:extLst>
                  <a:ext uri="{FF2B5EF4-FFF2-40B4-BE49-F238E27FC236}">
                    <a16:creationId xmlns:a16="http://schemas.microsoft.com/office/drawing/2014/main" id="{27B2E6A2-2844-664A-D59E-57EF97DE53C6}"/>
                  </a:ext>
                </a:extLst>
              </p:cNvPr>
              <p:cNvSpPr/>
              <p:nvPr/>
            </p:nvSpPr>
            <p:spPr>
              <a:xfrm>
                <a:off x="560543" y="2079189"/>
                <a:ext cx="3443127" cy="36670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8FB6BE00-0CB2-2D82-BDB2-525A073E80CE}"/>
                  </a:ext>
                </a:extLst>
              </p:cNvPr>
              <p:cNvSpPr/>
              <p:nvPr/>
            </p:nvSpPr>
            <p:spPr>
              <a:xfrm>
                <a:off x="4205277" y="2079189"/>
                <a:ext cx="2859915" cy="36670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/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TextBox 23"/>
              <p:cNvSpPr txBox="1"/>
              <p:nvPr/>
            </p:nvSpPr>
            <p:spPr>
              <a:xfrm>
                <a:off x="732087" y="2146300"/>
                <a:ext cx="2042572" cy="20377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80"/>
                  </a:lnSpc>
                </a:pPr>
                <a:r>
                  <a:rPr lang="en-US" sz="1200" b="1" dirty="0">
                    <a:solidFill>
                      <a:srgbClr val="422C1D"/>
                    </a:solidFill>
                    <a:latin typeface="Darker Grotesque" pitchFamily="2" charset="0"/>
                  </a:rPr>
                  <a:t>Student name</a:t>
                </a:r>
              </a:p>
            </p:txBody>
          </p:sp>
          <p:sp>
            <p:nvSpPr>
              <p:cNvPr id="27" name="TextBox 27"/>
              <p:cNvSpPr txBox="1"/>
              <p:nvPr/>
            </p:nvSpPr>
            <p:spPr>
              <a:xfrm>
                <a:off x="4372762" y="2146300"/>
                <a:ext cx="1659371" cy="20377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80"/>
                  </a:lnSpc>
                </a:pPr>
                <a:r>
                  <a:rPr lang="en-US" sz="1200" b="1" dirty="0">
                    <a:solidFill>
                      <a:srgbClr val="422C1D"/>
                    </a:solidFill>
                    <a:latin typeface="Darker Grotesque" pitchFamily="2" charset="0"/>
                  </a:rPr>
                  <a:t>Date</a:t>
                </a:r>
              </a:p>
            </p:txBody>
          </p:sp>
          <p:sp>
            <p:nvSpPr>
              <p:cNvPr id="28" name="TextBox 28"/>
              <p:cNvSpPr txBox="1"/>
              <p:nvPr/>
            </p:nvSpPr>
            <p:spPr>
              <a:xfrm>
                <a:off x="754250" y="813150"/>
                <a:ext cx="6048000" cy="115951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4400"/>
                  </a:lnSpc>
                </a:pPr>
                <a:r>
                  <a:rPr lang="en-US" sz="4400" b="1" dirty="0">
                    <a:solidFill>
                      <a:srgbClr val="422C1D"/>
                    </a:solidFill>
                    <a:latin typeface="League Spartan"/>
                  </a:rPr>
                  <a:t>High school </a:t>
                </a:r>
              </a:p>
              <a:p>
                <a:pPr algn="ctr">
                  <a:lnSpc>
                    <a:spcPts val="4400"/>
                  </a:lnSpc>
                </a:pPr>
                <a:r>
                  <a:rPr lang="en-US" sz="4400" b="1" dirty="0">
                    <a:solidFill>
                      <a:srgbClr val="422C1D"/>
                    </a:solidFill>
                    <a:latin typeface="League Spartan"/>
                  </a:rPr>
                  <a:t>exit ticket template</a:t>
                </a:r>
              </a:p>
            </p:txBody>
          </p:sp>
        </p:grpSp>
        <p:sp>
          <p:nvSpPr>
            <p:cNvPr id="33" name="TemplateLAB"/>
            <p:cNvSpPr/>
            <p:nvPr/>
          </p:nvSpPr>
          <p:spPr>
            <a:xfrm>
              <a:off x="3285790" y="10227317"/>
              <a:ext cx="988421" cy="163089"/>
            </a:xfrm>
            <a:custGeom>
              <a:avLst/>
              <a:gdLst/>
              <a:ahLst/>
              <a:cxnLst/>
              <a:rect l="l" t="t" r="r" b="b"/>
              <a:pathLst>
                <a:path w="988421" h="163089">
                  <a:moveTo>
                    <a:pt x="0" y="0"/>
                  </a:moveTo>
                  <a:lnTo>
                    <a:pt x="988420" y="0"/>
                  </a:lnTo>
                  <a:lnTo>
                    <a:pt x="988420" y="163089"/>
                  </a:lnTo>
                  <a:lnTo>
                    <a:pt x="0" y="16308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3</TotalTime>
  <Words>89</Words>
  <Application>Microsoft Office PowerPoint</Application>
  <PresentationFormat>Custom</PresentationFormat>
  <Paragraphs>17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Darker Grotesque</vt:lpstr>
      <vt:lpstr>League Spartan</vt:lpstr>
      <vt:lpstr>Arial</vt:lpstr>
      <vt:lpstr>Calibri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it Ticket (Portrait)</dc:title>
  <dc:creator>Hoang Anh</dc:creator>
  <cp:lastModifiedBy>Hoang Anh</cp:lastModifiedBy>
  <cp:revision>17</cp:revision>
  <dcterms:created xsi:type="dcterms:W3CDTF">2006-08-16T00:00:00Z</dcterms:created>
  <dcterms:modified xsi:type="dcterms:W3CDTF">2023-09-29T11:13:09Z</dcterms:modified>
  <dc:identifier>DAFvahlxRyY</dc:identifier>
</cp:coreProperties>
</file>